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presentation.xml" ContentType="application/vnd.openxmlformats-officedocument.presentationml.presentation.main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4" r:id="rId1"/>
  </p:sldMasterIdLst>
  <p:notesMasterIdLst>
    <p:notesMasterId r:id="rId3"/>
  </p:notesMasterIdLst>
  <p:handoutMasterIdLst>
    <p:handoutMasterId r:id="rId4"/>
  </p:handoutMasterIdLst>
  <p:sldIdLst>
    <p:sldId id="37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788" autoAdjust="0"/>
    <p:restoredTop sz="95280" autoAdjust="0"/>
  </p:normalViewPr>
  <p:slideViewPr>
    <p:cSldViewPr snapToGrid="0">
      <p:cViewPr varScale="1">
        <p:scale>
          <a:sx n="82" d="100"/>
          <a:sy n="82" d="100"/>
        </p:scale>
        <p:origin x="1699" y="72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12" Type="http://schemas.openxmlformats.org/officeDocument/2006/relationships/customXml" Target="../customXml/item3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openxmlformats.org/officeDocument/2006/relationships/customXml" Target="../customXml/item2.xml"/><Relationship Id="rId5" Type="http://schemas.openxmlformats.org/officeDocument/2006/relationships/tags" Target="tags/tag1.xml"/><Relationship Id="rId10" Type="http://schemas.openxmlformats.org/officeDocument/2006/relationships/customXml" Target="../customXml/item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1B621FC7-84DA-4CA9-BDA5-5CFB8B091C1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Header</a:t>
            </a:r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3A1451-F87F-43E8-BC97-D5859924C52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C06D191-3064-4110-BA39-C2AF6EF2713E}" type="datetimeFigureOut">
              <a:rPr lang="en-GB"/>
              <a:pPr>
                <a:defRPr/>
              </a:pPr>
              <a:t>12/03/2020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ECACC80-426E-4836-A0C5-12DD6E2E4DD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Footer</a:t>
            </a:r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9D6550-5C35-4804-BCED-CE62BF35633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9825D9A9-28A4-4A48-B593-B98A9D1E9C1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993FE54-143F-44F4-B9EA-63092C43C2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/>
              <a:t>Header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AFDBA2-9A8E-48DB-91F5-20A9F1F0BB8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2CCD74D-CC02-48A0-B7AD-442590EEDE17}" type="datetimeFigureOut">
              <a:rPr lang="en-GB"/>
              <a:pPr>
                <a:defRPr/>
              </a:pPr>
              <a:t>12/03/2020</a:t>
            </a:fld>
            <a:endParaRPr lang="en-GB" dirty="0"/>
          </a:p>
        </p:txBody>
      </p:sp>
      <p:sp>
        <p:nvSpPr>
          <p:cNvPr id="4" name="Folienbildplatzhalter 3">
            <a:extLst>
              <a:ext uri="{FF2B5EF4-FFF2-40B4-BE49-F238E27FC236}">
                <a16:creationId xmlns:a16="http://schemas.microsoft.com/office/drawing/2014/main" id="{42AB1BF4-5720-4660-AED2-34768648689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>
            <a:extLst>
              <a:ext uri="{FF2B5EF4-FFF2-40B4-BE49-F238E27FC236}">
                <a16:creationId xmlns:a16="http://schemas.microsoft.com/office/drawing/2014/main" id="{6B21C9F7-87D9-470B-91D0-FCCEF25E06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4975" y="4197350"/>
            <a:ext cx="5988050" cy="42608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91D3CE6-5EC7-4E31-8A33-C549BA4D0E1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/>
              <a:t>Footer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7A80280-73D1-4D94-8D67-DB8774B330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620323A-DA39-4FF4-ABCD-30BC7C2D621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362825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555921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5 – </a:t>
            </a:r>
            <a:r>
              <a:rPr lang="en-US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SF300 and SF100 Valves Test Bench (Filling Valve Job Rotation Maintenance)</a:t>
            </a: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 March 2020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2F90293-B49D-4BDC-89C7-94D8AEEB233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900774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7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770107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lang="de-DE" dirty="1" kumimoji="0" sz="1400" b="1" i="0" u="none" strike="noStrike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MS PGothic" pitchFamily="34" charset="-128"/>
                <a:cs typeface="+mn-cs"/>
              </a:rPr>
              <a:t>NUTZEN UND VORTEILE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214634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770106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lang="de-DE" dirty="1" kumimoji="0" sz="1400" b="1" i="0" u="none" strike="noStrike" cap="none" normalizeH="0" baseline="0" noProof="1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 charset="0"/>
                <a:ea typeface="+mn-ea"/>
                <a:cs typeface="Arial" charset="0"/>
              </a:rPr>
              <a:t>BESCHREIBUNG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2146343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de-DE" dirty="1"/>
              <a:t>Vorbeugen von Lieferengpässen bei Ersatzteilen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r>
              <a:rPr lang="de-DE" dirty="1"/>
              <a:t>ELAU LMC300 PACDRIVE 3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utzen:</a:t>
            </a:r>
            <a:r>
              <a:rPr lang="de-DE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de-DE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bsoleszenz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sstattung:</a:t>
            </a:r>
            <a:r>
              <a:rPr lang="de-DE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de-DE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ollquattr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atalog-Code:</a:t>
            </a:r>
            <a:r>
              <a:rPr lang="de-DE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de-DE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CL001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8447" y="2146343"/>
            <a:ext cx="3866263" cy="272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dirty="1" sz="1200" b="1">
                <a:solidFill>
                  <a:srgbClr val="E64B00"/>
                </a:solidFill>
              </a:rPr>
              <a:t>Sicherere Lösung mit neustem am Markt verfügbaren Bauteil.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dirty="1" sz="1200" b="1">
                <a:solidFill>
                  <a:srgbClr val="E64B00"/>
                </a:solidFill>
              </a:rPr>
              <a:t>Kann lange Stillstandszeiten bei Ausfall vermeiden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dirty="1" sz="1200">
                <a:solidFill>
                  <a:srgbClr val="000000"/>
                </a:solidFill>
              </a:rPr>
              <a:t>Die Produktion der an verschiedenen Etikettierern installierten ELAU MAX-4/C 600/C 400 und MC-4 wurde vom Hersteller eingestellt.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dirty="1" sz="1200">
                <a:solidFill>
                  <a:srgbClr val="000000"/>
                </a:solidFill>
              </a:rPr>
              <a:t>Gefahr bevorstehender Nichtverfügbarkeit von Ersatzteilen.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dirty="1" sz="1200">
                <a:solidFill>
                  <a:srgbClr val="000000"/>
                </a:solidFill>
              </a:rPr>
              <a:t>Gefahr langer Stillstandszeiten der Anlage in den Abfüllbetrieben.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de-DE" dirty="1" sz="1200"/>
              <a:t>Zum Frequenzumrichter </a:t>
            </a:r>
            <a:r>
              <a:rPr lang="de-DE" dirty="1" b="1" sz="1200">
                <a:solidFill>
                  <a:srgbClr val="E64B00"/>
                </a:solidFill>
              </a:rPr>
              <a:t>hinzugefügte Ethernet IP-Steuerung</a:t>
            </a:r>
            <a:r>
              <a:rPr lang="de-DE" dirty="1" sz="1200">
                <a:solidFill>
                  <a:srgbClr val="000000"/>
                </a:solidFill>
              </a:rPr>
              <a:t> (verglichen mit den Versionen mit DeviceNet für den US-Markt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99168"/>
            <a:ext cx="3910143" cy="14362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de-DE" dirty="1" sz="1200">
                <a:solidFill>
                  <a:srgbClr val="000000"/>
                </a:solidFill>
              </a:rPr>
              <a:t>Neues System mit </a:t>
            </a:r>
            <a:r>
              <a:rPr lang="de-DE" dirty="1" sz="1200"/>
              <a:t>LMC300 PACDRIVE 3</a:t>
            </a:r>
            <a:r>
              <a:rPr lang="de-DE" dirty="1" sz="1200">
                <a:solidFill>
                  <a:srgbClr val="000000"/>
                </a:solidFill>
              </a:rPr>
              <a:t>:</a:t>
            </a:r>
          </a:p>
          <a:p>
            <a:pPr marL="4798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de-DE" dirty="1" sz="1200"/>
              <a:t>Das neue </a:t>
            </a:r>
            <a:r>
              <a:rPr lang="de-DE" dirty="1" sz="1200">
                <a:solidFill>
                  <a:srgbClr val="000000"/>
                </a:solidFill>
              </a:rPr>
              <a:t>System besteht aus </a:t>
            </a:r>
            <a:r>
              <a:rPr lang="de-DE" dirty="1" sz="1200"/>
              <a:t>einer LMC300 PACDRIVE 3 </a:t>
            </a:r>
            <a:r>
              <a:rPr lang="de-DE" dirty="1" sz="1200">
                <a:solidFill>
                  <a:srgbClr val="000000"/>
                </a:solidFill>
              </a:rPr>
              <a:t>Steuerung mit LXM62 Servoantrieb.</a:t>
            </a:r>
            <a:r>
              <a:rPr lang="de-DE" dirty="1" sz="1200">
                <a:solidFill>
                  <a:srgbClr val="000000"/>
                </a:solidFill>
              </a:rPr>
              <a:t> </a:t>
            </a:r>
          </a:p>
          <a:p>
            <a:pPr marL="4798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de-DE" dirty="1" sz="1200">
                <a:solidFill>
                  <a:srgbClr val="000000"/>
                </a:solidFill>
              </a:rPr>
              <a:t>Funktioniert nur mit Elau SH Motoren, die bei Bedarf ebenfalls in den O&amp;U enthalten sind (um veraltetes SM Modell zu ersetzen).</a:t>
            </a:r>
          </a:p>
        </p:txBody>
      </p:sp>
      <p:pic>
        <p:nvPicPr>
          <p:cNvPr id="17" name="Immagine 16" descr="Immagine che contiene computer&#10;&#10;Descrizione generata automaticamente">
            <a:extLst>
              <a:ext uri="{FF2B5EF4-FFF2-40B4-BE49-F238E27FC236}">
                <a16:creationId xmlns:a16="http://schemas.microsoft.com/office/drawing/2014/main" id="{C71DD28B-7F8E-4DF3-9D39-675053A8A9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0283" y="4144566"/>
            <a:ext cx="1407319" cy="1407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A741A42B-B3D9-4023-933F-1E395DB6CE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757" y="4044553"/>
            <a:ext cx="1607344" cy="1607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9487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C1934A45FF5D4B8D5F4B18333E543F" ma:contentTypeVersion="10" ma:contentTypeDescription="Crée un document." ma:contentTypeScope="" ma:versionID="c6fbba80f5b5790d9660e81b4bb1c2cf">
  <xsd:schema xmlns:xsd="http://www.w3.org/2001/XMLSchema" xmlns:xs="http://www.w3.org/2001/XMLSchema" xmlns:p="http://schemas.microsoft.com/office/2006/metadata/properties" xmlns:ns2="0911191c-8472-4eb5-a739-69bdbf5e668c" targetNamespace="http://schemas.microsoft.com/office/2006/metadata/properties" ma:root="true" ma:fieldsID="1b32f2aa824e076c1c942a171e6602e7" ns2:_="">
    <xsd:import namespace="0911191c-8472-4eb5-a739-69bdbf5e66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1191c-8472-4eb5-a739-69bdbf5e66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2105836-2569-4556-8096-8263759F771E}"/>
</file>

<file path=customXml/itemProps2.xml><?xml version="1.0" encoding="utf-8"?>
<ds:datastoreItem xmlns:ds="http://schemas.openxmlformats.org/officeDocument/2006/customXml" ds:itemID="{EBF1922A-2093-4C41-9AE6-922E3CC93208}"/>
</file>

<file path=customXml/itemProps3.xml><?xml version="1.0" encoding="utf-8"?>
<ds:datastoreItem xmlns:ds="http://schemas.openxmlformats.org/officeDocument/2006/customXml" ds:itemID="{E57670FC-F537-4373-88D3-34C3D3FD1896}"/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61</TotalTime>
  <Words>148</Words>
  <Application>Microsoft Office PowerPoint</Application>
  <PresentationFormat>On-screen Show (4:3)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Anticipate spare parts shortag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51</cp:revision>
  <dcterms:created xsi:type="dcterms:W3CDTF">2019-02-20T10:39:16Z</dcterms:created>
  <dcterms:modified xsi:type="dcterms:W3CDTF">2020-03-12T13:07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0877@sidel.com</vt:lpwstr>
  </property>
  <property fmtid="{D5CDD505-2E9C-101B-9397-08002B2CF9AE}" pid="8" name="MSIP_Label_94480757-a570-4f64-84e7-c5b3ffe9d573_SetDate">
    <vt:lpwstr>2019-04-08T19:18:40.1898798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  <property fmtid="{D5CDD505-2E9C-101B-9397-08002B2CF9AE}" pid="13" name="ContentTypeId">
    <vt:lpwstr>0x01010048C1934A45FF5D4B8D5F4B18333E543F</vt:lpwstr>
  </property>
</Properties>
</file>